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3"/>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4449F0BF-DB46-4F74-A8D7-FB227C8D45D1}">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8/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2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2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2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2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2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2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2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2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2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2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2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22847811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105449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4442744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1149596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373032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93651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21170510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440311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124083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543823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2159882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4878342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8658088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4122528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4432841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4151582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4477458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9290680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921498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3833749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2623350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040502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3016427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1093239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2730614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431672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65937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28/2025</a:t>
            </a:fld>
            <a:endParaRPr lang="en-US" sz="500"/>
          </a:p>
        </p:txBody>
      </p:sp>
    </p:spTree>
    <p:extLst>
      <p:ext uri="{BB962C8B-B14F-4D97-AF65-F5344CB8AC3E}">
        <p14:creationId xmlns:p14="http://schemas.microsoft.com/office/powerpoint/2010/main" val="2483985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4509</Words>
  <Application>Microsoft Office PowerPoint</Application>
  <PresentationFormat>On-screen Show (16:9)</PresentationFormat>
  <Paragraphs>2269</Paragraphs>
  <Slides>2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76</cp:revision>
  <dcterms:created xsi:type="dcterms:W3CDTF">2024-07-05T11:30:58Z</dcterms:created>
  <dcterms:modified xsi:type="dcterms:W3CDTF">2025-08-28T10:1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